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4"/>
  </p:notesMasterIdLst>
  <p:sldIdLst>
    <p:sldId id="302" r:id="rId2"/>
    <p:sldId id="332" r:id="rId3"/>
    <p:sldId id="319" r:id="rId4"/>
    <p:sldId id="272" r:id="rId5"/>
    <p:sldId id="312" r:id="rId6"/>
    <p:sldId id="313" r:id="rId7"/>
    <p:sldId id="314" r:id="rId8"/>
    <p:sldId id="299" r:id="rId9"/>
    <p:sldId id="275" r:id="rId10"/>
    <p:sldId id="320" r:id="rId11"/>
    <p:sldId id="321" r:id="rId12"/>
    <p:sldId id="322" r:id="rId13"/>
    <p:sldId id="323" r:id="rId14"/>
    <p:sldId id="324" r:id="rId15"/>
    <p:sldId id="325" r:id="rId16"/>
    <p:sldId id="287" r:id="rId17"/>
    <p:sldId id="330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  <p:sldId id="333" r:id="rId32"/>
    <p:sldId id="331" r:id="rId33"/>
  </p:sldIdLst>
  <p:sldSz cx="12192000" cy="6858000"/>
  <p:notesSz cx="7086600" cy="93726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26" autoAdjust="0"/>
    <p:restoredTop sz="93073" autoAdjust="0"/>
  </p:normalViewPr>
  <p:slideViewPr>
    <p:cSldViewPr showGuides="1">
      <p:cViewPr varScale="1">
        <p:scale>
          <a:sx n="146" d="100"/>
          <a:sy n="146" d="100"/>
        </p:scale>
        <p:origin x="200" y="9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1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92" r:id="rId3"/>
    <p:sldLayoutId id="2147483768" r:id="rId4"/>
    <p:sldLayoutId id="214748379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en.wikipedia.org/wiki/List_of_presidents_of_the_United_States" TargetMode="External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7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17465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28768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</a:t>
            </a:r>
            <a:r>
              <a:rPr lang="en-US" sz="1400" b="1" dirty="0">
                <a:solidFill>
                  <a:srgbClr val="003399"/>
                </a:solidFill>
              </a:rPr>
              <a:t>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language allows you to express yourself easily in plain English to solve the problem. 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6397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Overview: 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250022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423803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298083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547946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Multiple complex 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091423" y="1341000"/>
            <a:ext cx="205524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19685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/>
              <a:t>B4P</a:t>
            </a:r>
            <a:r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3784461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4792461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4792461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4792461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5951305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5991888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3499954" y="2303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3499954" y="3280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664757" y="2286707"/>
            <a:ext cx="1828396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210554" y="2566604"/>
            <a:ext cx="2633112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1866065" y="3400185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1900699" y="2417224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1899044" y="3905879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5619222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307955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140" name="Group">
            <a:extLst>
              <a:ext uri="{FF2B5EF4-FFF2-40B4-BE49-F238E27FC236}">
                <a16:creationId xmlns:a16="http://schemas.microsoft.com/office/drawing/2014/main" id="{689E4E69-8CE2-E140-B49A-E219F0D8F976}"/>
              </a:ext>
            </a:extLst>
          </p:cNvPr>
          <p:cNvGrpSpPr/>
          <p:nvPr/>
        </p:nvGrpSpPr>
        <p:grpSpPr>
          <a:xfrm>
            <a:off x="3216351" y="2377068"/>
            <a:ext cx="288496" cy="329374"/>
            <a:chOff x="0" y="0"/>
            <a:chExt cx="288494" cy="329373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0" y="0"/>
              <a:ext cx="175088" cy="256650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52341" y="36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113406" y="72723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4576032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224584" y="3900397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4843622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104386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040205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041746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150" name="Group">
            <a:extLst>
              <a:ext uri="{FF2B5EF4-FFF2-40B4-BE49-F238E27FC236}">
                <a16:creationId xmlns:a16="http://schemas.microsoft.com/office/drawing/2014/main" id="{77466A44-5922-E845-B31A-1C664363E0EE}"/>
              </a:ext>
            </a:extLst>
          </p:cNvPr>
          <p:cNvGrpSpPr/>
          <p:nvPr/>
        </p:nvGrpSpPr>
        <p:grpSpPr>
          <a:xfrm>
            <a:off x="3216351" y="3361716"/>
            <a:ext cx="288496" cy="352957"/>
            <a:chOff x="0" y="0"/>
            <a:chExt cx="288495" cy="352954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0" y="0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87146" y="87146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110958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4614637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4623122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114184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195911" y="2875287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4792461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047714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124659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052523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819104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024757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234941" y="2997931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099716" y="2853129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1722251" y="2897840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327903" y="3057968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480000" y="4581000"/>
            <a:ext cx="1123200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5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016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02FF7FE-1E71-4643-BD24-E3D93C1C4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000" y="2133000"/>
            <a:ext cx="7992000" cy="3240000"/>
          </a:xfrm>
        </p:spPr>
        <p:txBody>
          <a:bodyPr/>
          <a:lstStyle/>
          <a:p>
            <a:pPr algn="ctr"/>
            <a:r>
              <a:rPr lang="en-US" sz="6000" dirty="0"/>
              <a:t>DEPRECATED ARCHIVE</a:t>
            </a:r>
          </a:p>
        </p:txBody>
      </p:sp>
    </p:spTree>
    <p:extLst>
      <p:ext uri="{BB962C8B-B14F-4D97-AF65-F5344CB8AC3E}">
        <p14:creationId xmlns:p14="http://schemas.microsoft.com/office/powerpoint/2010/main" val="1607788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7677690F-2825-438D-99CD-CE271A13779E}"/>
              </a:ext>
            </a:extLst>
          </p:cNvPr>
          <p:cNvSpPr/>
          <p:nvPr/>
        </p:nvSpPr>
        <p:spPr>
          <a:xfrm flipH="1">
            <a:off x="667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FFD1BFE-0814-4E73-A3C8-9076B49F2A2F}"/>
              </a:ext>
            </a:extLst>
          </p:cNvPr>
          <p:cNvSpPr/>
          <p:nvPr/>
        </p:nvSpPr>
        <p:spPr>
          <a:xfrm>
            <a:off x="163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: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Web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584000" y="1341000"/>
            <a:ext cx="288000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 err="1"/>
              <a:t>B4P</a:t>
            </a:r>
            <a:r>
              <a:rPr lang="en-US" dirty="0"/>
              <a:t> Data Integration and</a:t>
            </a:r>
            <a:br>
              <a:rPr lang="en-US" dirty="0"/>
            </a:br>
            <a:r>
              <a:rPr lang="en-US" dirty="0"/>
              <a:t>Analytics Engin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32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536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743041" y="2989959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B734889D-B431-4E73-B9F6-917DC764AA95}"/>
              </a:ext>
            </a:extLst>
          </p:cNvPr>
          <p:cNvSpPr txBox="1"/>
          <p:nvPr/>
        </p:nvSpPr>
        <p:spPr>
          <a:xfrm>
            <a:off x="3216000" y="5229000"/>
            <a:ext cx="5760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cel (.xlsx, .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lsm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files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bas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ports (SAP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acle, MS Access, Salesforce, etc.)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data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Internet sources of structured data (web sites, web services)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6228024A-8D76-4718-A047-B48653DF6B1F}"/>
              </a:ext>
            </a:extLst>
          </p:cNvPr>
          <p:cNvSpPr txBox="1"/>
          <p:nvPr/>
        </p:nvSpPr>
        <p:spPr>
          <a:xfrm>
            <a:off x="1704000" y="5229000"/>
            <a:ext cx="1296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97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of data management are inadequat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Solutions are Complex and Unsustainab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Analysis with Minimum Effor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4240413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53</TotalTime>
  <Words>6119</Words>
  <Application>Microsoft Macintosh PowerPoint</Application>
  <PresentationFormat>Widescreen</PresentationFormat>
  <Paragraphs>817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Overview:  Integration and Analytics Engine</vt:lpstr>
      <vt:lpstr>B4P: Table of Contents</vt:lpstr>
      <vt:lpstr>B4P: The Problem Statement Conventional methods of data management are inadequate</vt:lpstr>
      <vt:lpstr>B4P: Problem Statement Conventional Solutions are Complex and Unsustainable</vt:lpstr>
      <vt:lpstr>B4P: Solution Automate your Data Analysis with Minimum Effort</vt:lpstr>
      <vt:lpstr>B4P Table of Contents</vt:lpstr>
      <vt:lpstr>B4P: The Analytics and Execution Engine Based on 14 Years of Experience Solving Problems</vt:lpstr>
      <vt:lpstr>B4P: The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 Table of Contents</vt:lpstr>
      <vt:lpstr>B4P: The Language Key Benefits of a Low-Code Language Approach</vt:lpstr>
      <vt:lpstr>B4P: The Language Language Syntax and Semantics</vt:lpstr>
      <vt:lpstr>B4P Table of Contents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  <vt:lpstr>DEPRECATED ARCHIVE</vt:lpstr>
      <vt:lpstr>B4P The Analytics and Execution Engine: Overview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11</cp:revision>
  <cp:lastPrinted>2012-05-04T14:30:29Z</cp:lastPrinted>
  <dcterms:created xsi:type="dcterms:W3CDTF">2016-02-06T20:40:56Z</dcterms:created>
  <dcterms:modified xsi:type="dcterms:W3CDTF">2021-05-20T02:18:24Z</dcterms:modified>
</cp:coreProperties>
</file>